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6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2.xml" ContentType="application/vnd.openxmlformats-officedocument.presentationml.tags+xml"/>
  <Override PartName="/ppt/notesSlides/notesSlide16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7" r:id="rId16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61.xml" Id="rId164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1.xml.rels>&#65279;<?xml version="1.0" encoding="utf-8"?><Relationships xmlns="http://schemas.openxmlformats.org/package/2006/relationships"><Relationship Type="http://schemas.openxmlformats.org/officeDocument/2006/relationships/slide" Target="/ppt/slides/slide161.xml" Id="rId2" /><Relationship Type="http://schemas.openxmlformats.org/officeDocument/2006/relationships/notesMaster" Target="/ppt/notesMasters/notesMaster1.xml" Id="rId1" /></Relationships>
</file>

<file path=ppt/notesSlides/notesSlide1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56180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2.xml" Id="rId2" /><Relationship Type="http://schemas.openxmlformats.org/officeDocument/2006/relationships/vmlDrawing" Target="/ppt/drawings/vmlDrawing16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65.bin" Id="rId5" /><Relationship Type="http://schemas.openxmlformats.org/officeDocument/2006/relationships/notesSlide" Target="/ppt/notesSlides/notesSlide161.xml" Id="rId4" /></Relationships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4217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1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Quote II</a:t>
            </a:r>
          </a:p>
        </p:txBody>
      </p:sp>
      <p:sp>
        <p:nvSpPr>
          <p:cNvPr id="2" name="Rechteck 13">
            <a:extLst>
              <a:ext uri="{FF2B5EF4-FFF2-40B4-BE49-F238E27FC236}">
                <a16:creationId xmlns:a16="http://schemas.microsoft.com/office/drawing/2014/main" id="{23F6F237-0BEF-ADEC-37E0-E35A13D85800}"/>
              </a:ext>
            </a:extLst>
          </p:cNvPr>
          <p:cNvSpPr>
            <a:spLocks/>
          </p:cNvSpPr>
          <p:nvPr/>
        </p:nvSpPr>
        <p:spPr>
          <a:xfrm>
            <a:off x="0" y="1990168"/>
            <a:ext cx="12192000" cy="16459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1ADA41D7-EB01-554D-3ED3-47F853523A47}"/>
              </a:ext>
            </a:extLst>
          </p:cNvPr>
          <p:cNvSpPr txBox="1">
            <a:spLocks/>
          </p:cNvSpPr>
          <p:nvPr/>
        </p:nvSpPr>
        <p:spPr bwMode="gray">
          <a:xfrm>
            <a:off x="1684132" y="2197575"/>
            <a:ext cx="9451228" cy="123110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Montserrat ExtraBold" panose="00000900000000000000" pitchFamily="2" charset="0"/>
                <a:ea typeface="+mj-ea"/>
                <a:cs typeface="+mj-cs"/>
                <a:sym typeface="Futura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Lorem ipsum dolor sit </a:t>
            </a:r>
            <a:r>
              <a:rPr kumimoji="0" lang="en-US" sz="40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amet</a:t>
            </a:r>
            <a:r>
              <a:rPr kumimoji="0" lang="en-US" sz="40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, </a:t>
            </a:r>
            <a:r>
              <a:rPr kumimoji="0" lang="en-US" sz="40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liro</a:t>
            </a:r>
            <a:r>
              <a:rPr kumimoji="0" lang="en-US" sz="40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</a:t>
            </a:r>
            <a:r>
              <a:rPr kumimoji="0" lang="en-US" sz="40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consectetuer</a:t>
            </a:r>
            <a:r>
              <a:rPr kumimoji="0" lang="en-US" sz="40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</a:t>
            </a:r>
            <a:r>
              <a:rPr kumimoji="0" lang="en-US" sz="40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elit</a:t>
            </a:r>
            <a:r>
              <a:rPr kumimoji="0" lang="en-US" sz="40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. Cum </a:t>
            </a:r>
            <a:r>
              <a:rPr kumimoji="0" lang="en-US" sz="40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eneancomm</a:t>
            </a:r>
            <a:endParaRPr kumimoji="0" lang="en-US" sz="4000" b="1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j-ea"/>
              <a:cs typeface="+mn-cs"/>
              <a:sym typeface="Futura"/>
            </a:endParaRP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301E6A5E-4915-5F7A-8FDF-1636F27BD663}"/>
              </a:ext>
            </a:extLst>
          </p:cNvPr>
          <p:cNvSpPr txBox="1">
            <a:spLocks/>
          </p:cNvSpPr>
          <p:nvPr/>
        </p:nvSpPr>
        <p:spPr bwMode="gray">
          <a:xfrm>
            <a:off x="1684132" y="4025180"/>
            <a:ext cx="6211888" cy="9920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2313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e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Aenean commo</a:t>
            </a:r>
            <a:br>
              <a:rPr lang="en-US" sz="1400"/>
            </a:br>
            <a:r>
              <a:rPr lang="en-US" sz="1400"/>
              <a:t>ligula </a:t>
            </a:r>
            <a:r>
              <a:rPr lang="en-US" sz="1400" err="1"/>
              <a:t>eget</a:t>
            </a:r>
            <a:r>
              <a:rPr lang="en-US" sz="1400"/>
              <a:t> dolor. Aenean </a:t>
            </a:r>
            <a:r>
              <a:rPr lang="en-US" sz="1400" err="1"/>
              <a:t>massa</a:t>
            </a:r>
            <a:r>
              <a:rPr lang="en-US" sz="1400"/>
              <a:t> cum sociis </a:t>
            </a:r>
            <a:r>
              <a:rPr lang="en-US" sz="1400" err="1"/>
              <a:t>natoque</a:t>
            </a:r>
            <a:r>
              <a:rPr lang="en-US" sz="1400"/>
              <a:t> </a:t>
            </a:r>
            <a:r>
              <a:rPr lang="en-US" sz="1400" err="1"/>
              <a:t>penatibus</a:t>
            </a:r>
            <a:r>
              <a:rPr lang="en-US" sz="1400"/>
              <a:t> et </a:t>
            </a:r>
            <a:r>
              <a:rPr lang="en-US" sz="1400" err="1"/>
              <a:t>magnis</a:t>
            </a:r>
            <a:r>
              <a:rPr lang="en-US" sz="1400"/>
              <a:t> parturient </a:t>
            </a:r>
            <a:r>
              <a:rPr lang="en-US" sz="1400" err="1"/>
              <a:t>montes</a:t>
            </a:r>
            <a:r>
              <a:rPr lang="en-US" sz="1400"/>
              <a:t>, </a:t>
            </a:r>
            <a:r>
              <a:rPr lang="en-US" sz="1400" err="1"/>
              <a:t>nascetur</a:t>
            </a:r>
            <a:r>
              <a:rPr lang="en-US" sz="1400"/>
              <a:t> </a:t>
            </a:r>
            <a:r>
              <a:rPr lang="en-US" sz="1400" err="1"/>
              <a:t>ridiculus</a:t>
            </a:r>
            <a:r>
              <a:rPr lang="en-US" sz="1400"/>
              <a:t> </a:t>
            </a:r>
            <a:r>
              <a:rPr lang="en-US" sz="1400" err="1"/>
              <a:t>mus</a:t>
            </a:r>
            <a:r>
              <a:rPr lang="en-US" sz="1400"/>
              <a:t> </a:t>
            </a:r>
            <a:r>
              <a:rPr lang="en-US" sz="1400" err="1"/>
              <a:t>donec</a:t>
            </a:r>
            <a:r>
              <a:rPr lang="en-US" sz="1400"/>
              <a:t> </a:t>
            </a:r>
            <a:r>
              <a:rPr lang="en-US" sz="1400" err="1"/>
              <a:t>quam</a:t>
            </a:r>
            <a:r>
              <a:rPr lang="en-US" sz="1400"/>
              <a:t>: </a:t>
            </a:r>
            <a:br>
              <a:rPr lang="en-US" sz="1400"/>
            </a:br>
            <a:r>
              <a:rPr lang="en-US" sz="1800" b="1">
                <a:solidFill>
                  <a:schemeClr val="tx2"/>
                </a:solidFill>
              </a:rPr>
              <a:t>Lorem ipsum dolor sit </a:t>
            </a:r>
            <a:r>
              <a:rPr lang="en-US" sz="1800" b="1" err="1">
                <a:solidFill>
                  <a:schemeClr val="tx2"/>
                </a:solidFill>
              </a:rPr>
              <a:t>amet</a:t>
            </a:r>
            <a:r>
              <a:rPr lang="en-US" sz="1800" b="1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6" name="Textfeld 11">
            <a:extLst>
              <a:ext uri="{FF2B5EF4-FFF2-40B4-BE49-F238E27FC236}">
                <a16:creationId xmlns:a16="http://schemas.microsoft.com/office/drawing/2014/main" id="{2BB152B5-3975-354F-B52C-F415F9C1EA78}"/>
              </a:ext>
            </a:extLst>
          </p:cNvPr>
          <p:cNvSpPr txBox="1">
            <a:spLocks/>
          </p:cNvSpPr>
          <p:nvPr/>
        </p:nvSpPr>
        <p:spPr>
          <a:xfrm>
            <a:off x="419100" y="1900613"/>
            <a:ext cx="943804" cy="742335"/>
          </a:xfrm>
          <a:custGeom>
            <a:avLst/>
            <a:gdLst/>
            <a:ahLst/>
            <a:cxnLst/>
            <a:rect l="l" t="t" r="r" b="b"/>
            <a:pathLst>
              <a:path w="212113" h="166837">
                <a:moveTo>
                  <a:pt x="197021" y="0"/>
                </a:moveTo>
                <a:lnTo>
                  <a:pt x="212113" y="31831"/>
                </a:lnTo>
                <a:cubicBezTo>
                  <a:pt x="196746" y="36953"/>
                  <a:pt x="185724" y="44088"/>
                  <a:pt x="179047" y="53234"/>
                </a:cubicBezTo>
                <a:cubicBezTo>
                  <a:pt x="172370" y="62381"/>
                  <a:pt x="168849" y="74546"/>
                  <a:pt x="168483" y="89730"/>
                </a:cubicBezTo>
                <a:lnTo>
                  <a:pt x="205802" y="89730"/>
                </a:lnTo>
                <a:lnTo>
                  <a:pt x="205802" y="166837"/>
                </a:lnTo>
                <a:lnTo>
                  <a:pt x="128695" y="166837"/>
                </a:lnTo>
                <a:lnTo>
                  <a:pt x="128695" y="111682"/>
                </a:lnTo>
                <a:cubicBezTo>
                  <a:pt x="128695" y="89181"/>
                  <a:pt x="130661" y="71528"/>
                  <a:pt x="134594" y="58722"/>
                </a:cubicBezTo>
                <a:cubicBezTo>
                  <a:pt x="138527" y="45917"/>
                  <a:pt x="145845" y="34392"/>
                  <a:pt x="156546" y="24148"/>
                </a:cubicBezTo>
                <a:cubicBezTo>
                  <a:pt x="167248" y="13903"/>
                  <a:pt x="180740" y="5854"/>
                  <a:pt x="197021" y="0"/>
                </a:cubicBezTo>
                <a:close/>
                <a:moveTo>
                  <a:pt x="68326" y="0"/>
                </a:moveTo>
                <a:lnTo>
                  <a:pt x="83418" y="31831"/>
                </a:lnTo>
                <a:cubicBezTo>
                  <a:pt x="68052" y="36953"/>
                  <a:pt x="57030" y="44088"/>
                  <a:pt x="50353" y="53234"/>
                </a:cubicBezTo>
                <a:cubicBezTo>
                  <a:pt x="43676" y="62381"/>
                  <a:pt x="40154" y="74546"/>
                  <a:pt x="39788" y="89730"/>
                </a:cubicBezTo>
                <a:lnTo>
                  <a:pt x="77107" y="89730"/>
                </a:lnTo>
                <a:lnTo>
                  <a:pt x="77107" y="166837"/>
                </a:lnTo>
                <a:lnTo>
                  <a:pt x="0" y="166837"/>
                </a:lnTo>
                <a:lnTo>
                  <a:pt x="0" y="111682"/>
                </a:lnTo>
                <a:cubicBezTo>
                  <a:pt x="0" y="89364"/>
                  <a:pt x="1967" y="71756"/>
                  <a:pt x="5900" y="58860"/>
                </a:cubicBezTo>
                <a:cubicBezTo>
                  <a:pt x="9833" y="45963"/>
                  <a:pt x="17105" y="34392"/>
                  <a:pt x="27715" y="24148"/>
                </a:cubicBezTo>
                <a:cubicBezTo>
                  <a:pt x="38325" y="13903"/>
                  <a:pt x="51862" y="5854"/>
                  <a:pt x="68326" y="0"/>
                </a:cubicBezTo>
                <a:close/>
              </a:path>
            </a:pathLst>
          </a:custGeom>
          <a:noFill/>
          <a:ln w="6350">
            <a:solidFill>
              <a:schemeClr val="bg1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4400" b="1"/>
          </a:p>
        </p:txBody>
      </p:sp>
      <p:sp>
        <p:nvSpPr>
          <p:cNvPr id="7" name="Textfeld 10">
            <a:extLst>
              <a:ext uri="{FF2B5EF4-FFF2-40B4-BE49-F238E27FC236}">
                <a16:creationId xmlns:a16="http://schemas.microsoft.com/office/drawing/2014/main" id="{AE8C85A8-98CF-0345-8BF0-53F14027461C}"/>
              </a:ext>
            </a:extLst>
          </p:cNvPr>
          <p:cNvSpPr txBox="1">
            <a:spLocks/>
          </p:cNvSpPr>
          <p:nvPr/>
        </p:nvSpPr>
        <p:spPr>
          <a:xfrm>
            <a:off x="1299404" y="2193442"/>
            <a:ext cx="313496" cy="246577"/>
          </a:xfrm>
          <a:custGeom>
            <a:avLst/>
            <a:gdLst/>
            <a:ahLst/>
            <a:cxnLst/>
            <a:rect l="l" t="t" r="r" b="b"/>
            <a:pathLst>
              <a:path w="212113" h="166837">
                <a:moveTo>
                  <a:pt x="197021" y="0"/>
                </a:moveTo>
                <a:lnTo>
                  <a:pt x="212113" y="31831"/>
                </a:lnTo>
                <a:cubicBezTo>
                  <a:pt x="196746" y="36953"/>
                  <a:pt x="185724" y="44088"/>
                  <a:pt x="179047" y="53234"/>
                </a:cubicBezTo>
                <a:cubicBezTo>
                  <a:pt x="172370" y="62381"/>
                  <a:pt x="168849" y="74546"/>
                  <a:pt x="168483" y="89730"/>
                </a:cubicBezTo>
                <a:lnTo>
                  <a:pt x="205802" y="89730"/>
                </a:lnTo>
                <a:lnTo>
                  <a:pt x="205802" y="166837"/>
                </a:lnTo>
                <a:lnTo>
                  <a:pt x="128695" y="166837"/>
                </a:lnTo>
                <a:lnTo>
                  <a:pt x="128695" y="111682"/>
                </a:lnTo>
                <a:cubicBezTo>
                  <a:pt x="128695" y="89181"/>
                  <a:pt x="130661" y="71528"/>
                  <a:pt x="134594" y="58722"/>
                </a:cubicBezTo>
                <a:cubicBezTo>
                  <a:pt x="138527" y="45917"/>
                  <a:pt x="145845" y="34392"/>
                  <a:pt x="156546" y="24148"/>
                </a:cubicBezTo>
                <a:cubicBezTo>
                  <a:pt x="167248" y="13903"/>
                  <a:pt x="180740" y="5854"/>
                  <a:pt x="197021" y="0"/>
                </a:cubicBezTo>
                <a:close/>
                <a:moveTo>
                  <a:pt x="68326" y="0"/>
                </a:moveTo>
                <a:lnTo>
                  <a:pt x="83418" y="31831"/>
                </a:lnTo>
                <a:cubicBezTo>
                  <a:pt x="68052" y="36953"/>
                  <a:pt x="57030" y="44088"/>
                  <a:pt x="50353" y="53234"/>
                </a:cubicBezTo>
                <a:cubicBezTo>
                  <a:pt x="43676" y="62381"/>
                  <a:pt x="40154" y="74546"/>
                  <a:pt x="39788" y="89730"/>
                </a:cubicBezTo>
                <a:lnTo>
                  <a:pt x="77107" y="89730"/>
                </a:lnTo>
                <a:lnTo>
                  <a:pt x="77107" y="166837"/>
                </a:lnTo>
                <a:lnTo>
                  <a:pt x="0" y="166837"/>
                </a:lnTo>
                <a:lnTo>
                  <a:pt x="0" y="111682"/>
                </a:lnTo>
                <a:cubicBezTo>
                  <a:pt x="0" y="89364"/>
                  <a:pt x="1967" y="71756"/>
                  <a:pt x="5900" y="58860"/>
                </a:cubicBezTo>
                <a:cubicBezTo>
                  <a:pt x="9833" y="45963"/>
                  <a:pt x="17105" y="34392"/>
                  <a:pt x="27715" y="24148"/>
                </a:cubicBezTo>
                <a:cubicBezTo>
                  <a:pt x="38325" y="13903"/>
                  <a:pt x="51862" y="5854"/>
                  <a:pt x="68326" y="0"/>
                </a:cubicBezTo>
                <a:close/>
              </a:path>
            </a:pathLst>
          </a:custGeom>
          <a:solidFill>
            <a:schemeClr val="accent1"/>
          </a:solidFill>
          <a:ln w="6350"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4400" b="1"/>
          </a:p>
        </p:txBody>
      </p:sp>
      <p:grpSp>
        <p:nvGrpSpPr>
          <p:cNvPr id="9" name="Gruppieren 5">
            <a:extLst>
              <a:ext uri="{FF2B5EF4-FFF2-40B4-BE49-F238E27FC236}">
                <a16:creationId xmlns:a16="http://schemas.microsoft.com/office/drawing/2014/main" id="{67775139-5FE6-CC94-7D76-74D5E81AAE64}"/>
              </a:ext>
            </a:extLst>
          </p:cNvPr>
          <p:cNvGrpSpPr>
            <a:grpSpLocks/>
          </p:cNvGrpSpPr>
          <p:nvPr/>
        </p:nvGrpSpPr>
        <p:grpSpPr>
          <a:xfrm rot="10800000">
            <a:off x="10625430" y="3008053"/>
            <a:ext cx="1193800" cy="742335"/>
            <a:chOff x="9796780" y="2216765"/>
            <a:chExt cx="1193800" cy="742335"/>
          </a:xfrm>
        </p:grpSpPr>
        <p:sp>
          <p:nvSpPr>
            <p:cNvPr id="11" name="Textfeld 15">
              <a:extLst>
                <a:ext uri="{FF2B5EF4-FFF2-40B4-BE49-F238E27FC236}">
                  <a16:creationId xmlns:a16="http://schemas.microsoft.com/office/drawing/2014/main" id="{9172131E-BF9A-D829-9C3A-369F9666BEBF}"/>
                </a:ext>
              </a:extLst>
            </p:cNvPr>
            <p:cNvSpPr txBox="1">
              <a:spLocks/>
            </p:cNvSpPr>
            <p:nvPr/>
          </p:nvSpPr>
          <p:spPr>
            <a:xfrm>
              <a:off x="9796780" y="2216765"/>
              <a:ext cx="943804" cy="742335"/>
            </a:xfrm>
            <a:custGeom>
              <a:avLst/>
              <a:gdLst/>
              <a:ahLst/>
              <a:cxnLst/>
              <a:rect l="l" t="t" r="r" b="b"/>
              <a:pathLst>
                <a:path w="212113" h="166837">
                  <a:moveTo>
                    <a:pt x="197021" y="0"/>
                  </a:moveTo>
                  <a:lnTo>
                    <a:pt x="212113" y="31831"/>
                  </a:lnTo>
                  <a:cubicBezTo>
                    <a:pt x="196746" y="36953"/>
                    <a:pt x="185724" y="44088"/>
                    <a:pt x="179047" y="53234"/>
                  </a:cubicBezTo>
                  <a:cubicBezTo>
                    <a:pt x="172370" y="62381"/>
                    <a:pt x="168849" y="74546"/>
                    <a:pt x="168483" y="89730"/>
                  </a:cubicBezTo>
                  <a:lnTo>
                    <a:pt x="205802" y="89730"/>
                  </a:lnTo>
                  <a:lnTo>
                    <a:pt x="205802" y="166837"/>
                  </a:lnTo>
                  <a:lnTo>
                    <a:pt x="128695" y="166837"/>
                  </a:lnTo>
                  <a:lnTo>
                    <a:pt x="128695" y="111682"/>
                  </a:lnTo>
                  <a:cubicBezTo>
                    <a:pt x="128695" y="89181"/>
                    <a:pt x="130661" y="71528"/>
                    <a:pt x="134594" y="58722"/>
                  </a:cubicBezTo>
                  <a:cubicBezTo>
                    <a:pt x="138527" y="45917"/>
                    <a:pt x="145845" y="34392"/>
                    <a:pt x="156546" y="24148"/>
                  </a:cubicBezTo>
                  <a:cubicBezTo>
                    <a:pt x="167248" y="13903"/>
                    <a:pt x="180740" y="5854"/>
                    <a:pt x="197021" y="0"/>
                  </a:cubicBezTo>
                  <a:close/>
                  <a:moveTo>
                    <a:pt x="68326" y="0"/>
                  </a:moveTo>
                  <a:lnTo>
                    <a:pt x="83418" y="31831"/>
                  </a:lnTo>
                  <a:cubicBezTo>
                    <a:pt x="68052" y="36953"/>
                    <a:pt x="57030" y="44088"/>
                    <a:pt x="50353" y="53234"/>
                  </a:cubicBezTo>
                  <a:cubicBezTo>
                    <a:pt x="43676" y="62381"/>
                    <a:pt x="40154" y="74546"/>
                    <a:pt x="39788" y="89730"/>
                  </a:cubicBezTo>
                  <a:lnTo>
                    <a:pt x="77107" y="89730"/>
                  </a:lnTo>
                  <a:lnTo>
                    <a:pt x="77107" y="166837"/>
                  </a:lnTo>
                  <a:lnTo>
                    <a:pt x="0" y="166837"/>
                  </a:lnTo>
                  <a:lnTo>
                    <a:pt x="0" y="111682"/>
                  </a:lnTo>
                  <a:cubicBezTo>
                    <a:pt x="0" y="89364"/>
                    <a:pt x="1967" y="71756"/>
                    <a:pt x="5900" y="58860"/>
                  </a:cubicBezTo>
                  <a:cubicBezTo>
                    <a:pt x="9833" y="45963"/>
                    <a:pt x="17105" y="34392"/>
                    <a:pt x="27715" y="24148"/>
                  </a:cubicBezTo>
                  <a:cubicBezTo>
                    <a:pt x="38325" y="13903"/>
                    <a:pt x="51862" y="5854"/>
                    <a:pt x="68326" y="0"/>
                  </a:cubicBez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4400" b="1"/>
            </a:p>
          </p:txBody>
        </p:sp>
        <p:sp>
          <p:nvSpPr>
            <p:cNvPr id="12" name="Textfeld 16">
              <a:extLst>
                <a:ext uri="{FF2B5EF4-FFF2-40B4-BE49-F238E27FC236}">
                  <a16:creationId xmlns:a16="http://schemas.microsoft.com/office/drawing/2014/main" id="{5CBC62EF-0A58-B1DD-751D-BCB6BC6C5D1A}"/>
                </a:ext>
              </a:extLst>
            </p:cNvPr>
            <p:cNvSpPr txBox="1">
              <a:spLocks/>
            </p:cNvSpPr>
            <p:nvPr/>
          </p:nvSpPr>
          <p:spPr>
            <a:xfrm>
              <a:off x="10677084" y="2509594"/>
              <a:ext cx="313496" cy="246577"/>
            </a:xfrm>
            <a:custGeom>
              <a:avLst/>
              <a:gdLst/>
              <a:ahLst/>
              <a:cxnLst/>
              <a:rect l="l" t="t" r="r" b="b"/>
              <a:pathLst>
                <a:path w="212113" h="166837">
                  <a:moveTo>
                    <a:pt x="197021" y="0"/>
                  </a:moveTo>
                  <a:lnTo>
                    <a:pt x="212113" y="31831"/>
                  </a:lnTo>
                  <a:cubicBezTo>
                    <a:pt x="196746" y="36953"/>
                    <a:pt x="185724" y="44088"/>
                    <a:pt x="179047" y="53234"/>
                  </a:cubicBezTo>
                  <a:cubicBezTo>
                    <a:pt x="172370" y="62381"/>
                    <a:pt x="168849" y="74546"/>
                    <a:pt x="168483" y="89730"/>
                  </a:cubicBezTo>
                  <a:lnTo>
                    <a:pt x="205802" y="89730"/>
                  </a:lnTo>
                  <a:lnTo>
                    <a:pt x="205802" y="166837"/>
                  </a:lnTo>
                  <a:lnTo>
                    <a:pt x="128695" y="166837"/>
                  </a:lnTo>
                  <a:lnTo>
                    <a:pt x="128695" y="111682"/>
                  </a:lnTo>
                  <a:cubicBezTo>
                    <a:pt x="128695" y="89181"/>
                    <a:pt x="130661" y="71528"/>
                    <a:pt x="134594" y="58722"/>
                  </a:cubicBezTo>
                  <a:cubicBezTo>
                    <a:pt x="138527" y="45917"/>
                    <a:pt x="145845" y="34392"/>
                    <a:pt x="156546" y="24148"/>
                  </a:cubicBezTo>
                  <a:cubicBezTo>
                    <a:pt x="167248" y="13903"/>
                    <a:pt x="180740" y="5854"/>
                    <a:pt x="197021" y="0"/>
                  </a:cubicBezTo>
                  <a:close/>
                  <a:moveTo>
                    <a:pt x="68326" y="0"/>
                  </a:moveTo>
                  <a:lnTo>
                    <a:pt x="83418" y="31831"/>
                  </a:lnTo>
                  <a:cubicBezTo>
                    <a:pt x="68052" y="36953"/>
                    <a:pt x="57030" y="44088"/>
                    <a:pt x="50353" y="53234"/>
                  </a:cubicBezTo>
                  <a:cubicBezTo>
                    <a:pt x="43676" y="62381"/>
                    <a:pt x="40154" y="74546"/>
                    <a:pt x="39788" y="89730"/>
                  </a:cubicBezTo>
                  <a:lnTo>
                    <a:pt x="77107" y="89730"/>
                  </a:lnTo>
                  <a:lnTo>
                    <a:pt x="77107" y="166837"/>
                  </a:lnTo>
                  <a:lnTo>
                    <a:pt x="0" y="166837"/>
                  </a:lnTo>
                  <a:lnTo>
                    <a:pt x="0" y="111682"/>
                  </a:lnTo>
                  <a:cubicBezTo>
                    <a:pt x="0" y="89364"/>
                    <a:pt x="1967" y="71756"/>
                    <a:pt x="5900" y="58860"/>
                  </a:cubicBezTo>
                  <a:cubicBezTo>
                    <a:pt x="9833" y="45963"/>
                    <a:pt x="17105" y="34392"/>
                    <a:pt x="27715" y="24148"/>
                  </a:cubicBezTo>
                  <a:cubicBezTo>
                    <a:pt x="38325" y="13903"/>
                    <a:pt x="51862" y="5854"/>
                    <a:pt x="68326" y="0"/>
                  </a:cubicBez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4400" b="1"/>
            </a:p>
          </p:txBody>
        </p:sp>
      </p:grp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E5F1C72-3779-5375-A7B6-A8538121473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344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quotes, quotation, quotations</a:t>
            </a:r>
          </a:p>
        </p:txBody>
      </p:sp>
    </p:spTree>
    <p:extLst>
      <p:ext uri="{BB962C8B-B14F-4D97-AF65-F5344CB8AC3E}">
        <p14:creationId xmlns:p14="http://schemas.microsoft.com/office/powerpoint/2010/main" val="1347163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